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8"/>
  </p:notesMasterIdLst>
  <p:sldIdLst>
    <p:sldId id="357" r:id="rId2"/>
    <p:sldId id="362" r:id="rId3"/>
    <p:sldId id="294" r:id="rId4"/>
    <p:sldId id="450" r:id="rId5"/>
    <p:sldId id="418" r:id="rId6"/>
    <p:sldId id="419" r:id="rId7"/>
    <p:sldId id="458" r:id="rId8"/>
    <p:sldId id="454" r:id="rId9"/>
    <p:sldId id="455" r:id="rId10"/>
    <p:sldId id="534" r:id="rId11"/>
    <p:sldId id="423" r:id="rId12"/>
    <p:sldId id="460" r:id="rId13"/>
    <p:sldId id="424" r:id="rId14"/>
    <p:sldId id="461" r:id="rId15"/>
    <p:sldId id="425" r:id="rId16"/>
    <p:sldId id="462" r:id="rId17"/>
    <p:sldId id="426" r:id="rId18"/>
    <p:sldId id="463" r:id="rId19"/>
    <p:sldId id="427" r:id="rId20"/>
    <p:sldId id="435" r:id="rId21"/>
    <p:sldId id="436" r:id="rId22"/>
    <p:sldId id="535" r:id="rId23"/>
    <p:sldId id="464" r:id="rId24"/>
    <p:sldId id="437" r:id="rId25"/>
    <p:sldId id="438" r:id="rId26"/>
    <p:sldId id="441" r:id="rId27"/>
  </p:sldIdLst>
  <p:sldSz cx="9144000" cy="6858000" type="screen4x3"/>
  <p:notesSz cx="6858000" cy="9144000"/>
  <p:custDataLst>
    <p:tags r:id="rId29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298" userDrawn="1">
          <p15:clr>
            <a:srgbClr val="A4A3A4"/>
          </p15:clr>
        </p15:guide>
        <p15:guide id="4" pos="38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03" autoAdjust="0"/>
    <p:restoredTop sz="94662" autoAdjust="0"/>
  </p:normalViewPr>
  <p:slideViewPr>
    <p:cSldViewPr>
      <p:cViewPr>
        <p:scale>
          <a:sx n="77" d="100"/>
          <a:sy n="77" d="100"/>
        </p:scale>
        <p:origin x="-1555" y="-398"/>
      </p:cViewPr>
      <p:guideLst>
        <p:guide orient="horz" pos="2160"/>
        <p:guide orient="horz" pos="1298"/>
        <p:guide pos="2880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86201F-75B2-4637-8B14-5D7141F92A45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972CF1-BC66-4705-AC99-FC1089EB6BC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126719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72CF1-BC66-4705-AC99-FC1089EB6BCF}" type="slidenum">
              <a:rPr lang="it-IT" smtClean="0">
                <a:solidFill>
                  <a:prstClr val="black"/>
                </a:solidFill>
              </a:rPr>
              <a:pPr/>
              <a:t>19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599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57350" y="4464028"/>
            <a:ext cx="6858000" cy="1194650"/>
          </a:xfrm>
        </p:spPr>
        <p:txBody>
          <a:bodyPr wrap="none" anchor="t">
            <a:normAutofit/>
          </a:bodyPr>
          <a:lstStyle>
            <a:lvl1pPr algn="r">
              <a:defRPr sz="7200" b="0" spc="-225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100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57349" y="3829878"/>
            <a:ext cx="6858000" cy="618523"/>
          </a:xfrm>
        </p:spPr>
        <p:txBody>
          <a:bodyPr anchor="b">
            <a:normAutofit/>
          </a:bodyPr>
          <a:lstStyle>
            <a:lvl1pPr marL="0" indent="0" algn="r">
              <a:buNone/>
              <a:defRPr sz="24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63764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magine panoramica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367161"/>
            <a:ext cx="7886700" cy="819355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29841" y="987426"/>
            <a:ext cx="7886700" cy="337973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5186516"/>
            <a:ext cx="7885509" cy="682472"/>
          </a:xfrm>
        </p:spPr>
        <p:txBody>
          <a:bodyPr/>
          <a:lstStyle>
            <a:lvl1pPr marL="0" indent="0">
              <a:buNone/>
              <a:defRPr sz="12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1218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3534344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4489399"/>
            <a:ext cx="7885509" cy="1501826"/>
          </a:xfrm>
        </p:spPr>
        <p:txBody>
          <a:bodyPr anchor="ctr"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356162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zio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4659" y="365125"/>
            <a:ext cx="6977064" cy="2992904"/>
          </a:xfrm>
        </p:spPr>
        <p:txBody>
          <a:bodyPr anchor="ctr"/>
          <a:lstStyle>
            <a:lvl1pPr>
              <a:defRPr sz="33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290484" y="3365557"/>
            <a:ext cx="6564224" cy="548968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8650" y="4501729"/>
            <a:ext cx="7884318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  <p:sp>
        <p:nvSpPr>
          <p:cNvPr id="9" name="TextBox 8"/>
          <p:cNvSpPr txBox="1"/>
          <p:nvPr/>
        </p:nvSpPr>
        <p:spPr>
          <a:xfrm>
            <a:off x="833283" y="786824"/>
            <a:ext cx="457200" cy="5847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828359" y="2743200"/>
            <a:ext cx="457200" cy="58477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7288431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eda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326968"/>
            <a:ext cx="7886700" cy="2511835"/>
          </a:xfrm>
        </p:spPr>
        <p:txBody>
          <a:bodyPr anchor="b">
            <a:normAutofit/>
          </a:bodyPr>
          <a:lstStyle>
            <a:lvl1pPr>
              <a:defRPr sz="405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4850581"/>
            <a:ext cx="7885509" cy="1140644"/>
          </a:xfrm>
        </p:spPr>
        <p:txBody>
          <a:bodyPr anchor="t"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05755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002961" y="1885950"/>
            <a:ext cx="2210150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017598" y="2571750"/>
            <a:ext cx="21955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40996" y="1885950"/>
            <a:ext cx="2202181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18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it-IT" smtClean="0"/>
              <a:t>Fare clic per modificare stili del testo dello schema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3433081" y="2571750"/>
            <a:ext cx="2210096" cy="3589338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71777" y="1885950"/>
            <a:ext cx="2199085" cy="576262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buNone/>
              <a:defRPr lang="en-US" sz="1800" b="0" dirty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it-IT" smtClean="0"/>
              <a:t>Fare clic per modificare stili del testo dello schema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5871777" y="2571750"/>
            <a:ext cx="2199085" cy="3589338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2035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onne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99064" y="4297503"/>
            <a:ext cx="2205038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99064" y="2256354"/>
            <a:ext cx="2205038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99064" y="4873766"/>
            <a:ext cx="2205038" cy="659189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26748" y="4297503"/>
            <a:ext cx="2197894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426747" y="2256354"/>
            <a:ext cx="2197894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3425733" y="4873765"/>
            <a:ext cx="2200805" cy="659189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853242" y="4297503"/>
            <a:ext cx="2199085" cy="576262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5853241" y="2256354"/>
            <a:ext cx="219908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5853148" y="4873763"/>
            <a:ext cx="2201998" cy="659189"/>
          </a:xfrm>
        </p:spPr>
        <p:txBody>
          <a:bodyPr anchor="t"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522289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71349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601452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9911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40899" y="4464028"/>
            <a:ext cx="6858000" cy="1194650"/>
          </a:xfrm>
        </p:spPr>
        <p:txBody>
          <a:bodyPr wrap="none" anchor="t">
            <a:normAutofit/>
          </a:bodyPr>
          <a:lstStyle>
            <a:lvl1pPr algn="l">
              <a:defRPr sz="7200" b="0" spc="-225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0">
                      <a:schemeClr val="bg1">
                        <a:lumMod val="47000"/>
                        <a:lumOff val="53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0899" y="3829878"/>
            <a:ext cx="6858000" cy="617822"/>
          </a:xfrm>
        </p:spPr>
        <p:txBody>
          <a:bodyPr anchor="b">
            <a:normAutofit/>
          </a:bodyPr>
          <a:lstStyle>
            <a:lvl1pPr marL="0" indent="0" algn="l">
              <a:buNone/>
              <a:defRPr sz="2400" b="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12291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0000" y="1825625"/>
            <a:ext cx="3768912" cy="43513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9880" y="1825625"/>
            <a:ext cx="3775470" cy="435133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31502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0" y="1681163"/>
            <a:ext cx="3768912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000" y="2505075"/>
            <a:ext cx="3768912" cy="368458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39880" y="1681163"/>
            <a:ext cx="3776661" cy="823912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000" b="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</a:lstStyle>
          <a:p>
            <a:pPr marL="0" lvl="0" indent="0">
              <a:buNone/>
            </a:pPr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39880" y="2505075"/>
            <a:ext cx="3776661" cy="3684588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3557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6339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02112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0" y="2057400"/>
            <a:ext cx="2739019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6088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it-IT" smtClean="0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0" y="2057400"/>
            <a:ext cx="2739019" cy="381158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gradFill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1"/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</a:gra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77803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32689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" name="Diapositiva think-cell" r:id="rId22" imgW="366" imgH="343" progId="TCLayout.ActiveDocument.1">
                  <p:embed/>
                </p:oleObj>
              </mc:Choice>
              <mc:Fallback>
                <p:oleObj name="Diapositiva think-cell" r:id="rId22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0" y="1825625"/>
            <a:ext cx="767535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768B92DB-EA61-423F-B603-22FE513C1134}" type="datetimeFigureOut">
              <a:rPr lang="it-IT" smtClean="0"/>
              <a:t>13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gradFill flip="none" rotWithShape="1">
                  <a:gsLst>
                    <a:gs pos="28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38000"/>
                        <a:lumOff val="62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5400000" scaled="1"/>
                  <a:tileRect/>
                </a:gradFill>
              </a:defRPr>
            </a:lvl1pPr>
          </a:lstStyle>
          <a:p>
            <a:fld id="{2EAA2A8B-7663-42D8-A940-D5E371843C6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09625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4400" b="0" kern="1200">
          <a:gradFill flip="none" rotWithShape="1">
            <a:gsLst>
              <a:gs pos="28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  <a:tileRect/>
          </a:gra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gradFill>
            <a:gsLst>
              <a:gs pos="34000">
                <a:schemeClr val="tx1">
                  <a:lumMod val="93000"/>
                </a:schemeClr>
              </a:gs>
              <a:gs pos="0">
                <a:schemeClr val="bg1">
                  <a:lumMod val="25000"/>
                  <a:lumOff val="75000"/>
                </a:schemeClr>
              </a:gs>
              <a:gs pos="100000">
                <a:schemeClr val="tx2">
                  <a:lumMod val="0"/>
                  <a:lumOff val="100000"/>
                </a:schemeClr>
              </a:gs>
            </a:gsLst>
            <a:lin ang="4800000" scaled="0"/>
          </a:gra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70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8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50912" y="2060848"/>
            <a:ext cx="8442176" cy="1194650"/>
          </a:xfrm>
        </p:spPr>
        <p:txBody>
          <a:bodyPr vert="horz">
            <a:normAutofit/>
          </a:bodyPr>
          <a:lstStyle/>
          <a:p>
            <a:r>
              <a:rPr lang="it-IT" sz="6600" dirty="0">
                <a:solidFill>
                  <a:schemeClr val="accent6"/>
                </a:solidFill>
              </a:rPr>
              <a:t>Mito, Religione, filosofia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103345" y="3645024"/>
            <a:ext cx="6937310" cy="618523"/>
          </a:xfrm>
        </p:spPr>
        <p:txBody>
          <a:bodyPr>
            <a:normAutofit/>
          </a:bodyPr>
          <a:lstStyle/>
          <a:p>
            <a:pPr algn="ctr"/>
            <a:r>
              <a:rPr lang="it-IT" sz="28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Corso </a:t>
            </a:r>
            <a:r>
              <a:rPr lang="it-IT" sz="2800" b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n.155</a:t>
            </a:r>
            <a:endParaRPr lang="it-IT" sz="28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566936" y="5085184"/>
            <a:ext cx="8010128" cy="936104"/>
          </a:xfrm>
          <a:prstGeom prst="rect">
            <a:avLst/>
          </a:prstGeom>
        </p:spPr>
        <p:txBody>
          <a:bodyPr vert="horz" wrap="none" lIns="91440" tIns="45720" rIns="91440" bIns="45720" rtlCol="0" anchor="t">
            <a:normAutofit/>
          </a:bodyPr>
          <a:lstStyle>
            <a:lvl1pPr algn="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b="0" kern="1200" spc="-225">
                <a:gradFill flip="none" rotWithShape="1">
                  <a:gsLst>
                    <a:gs pos="32000">
                      <a:schemeClr val="tx1">
                        <a:lumMod val="89000"/>
                      </a:schemeClr>
                    </a:gs>
                    <a:gs pos="1000">
                      <a:schemeClr val="bg1">
                        <a:lumMod val="41000"/>
                        <a:lumOff val="59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8100000" scaled="1"/>
                  <a:tileRect/>
                </a:gradFill>
                <a:effectLst>
                  <a:outerShdw blurRad="469900" dist="342900" dir="5400000" sy="-20000" rotWithShape="0">
                    <a:prstClr val="black">
                      <a:alpha val="66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4400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ariella Valenti</a:t>
            </a:r>
            <a:endParaRPr lang="it-IT" sz="4400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734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251520" y="548680"/>
            <a:ext cx="630019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>
                <a:solidFill>
                  <a:srgbClr val="FFC000"/>
                </a:solidFill>
              </a:rPr>
              <a:t> </a:t>
            </a:r>
            <a:r>
              <a:rPr lang="it-IT" sz="3600" dirty="0">
                <a:solidFill>
                  <a:srgbClr val="FFC000"/>
                </a:solidFill>
              </a:rPr>
              <a:t>Maometto sposò la vedova  </a:t>
            </a:r>
            <a:r>
              <a:rPr lang="it-IT" sz="3600" dirty="0" err="1">
                <a:solidFill>
                  <a:srgbClr val="FFC000"/>
                </a:solidFill>
              </a:rPr>
              <a:t>Cadigia</a:t>
            </a:r>
            <a:r>
              <a:rPr lang="it-IT" sz="3600" dirty="0">
                <a:solidFill>
                  <a:srgbClr val="FFC000"/>
                </a:solidFill>
              </a:rPr>
              <a:t> </a:t>
            </a:r>
            <a:r>
              <a:rPr lang="it-IT" sz="3600" dirty="0" smtClean="0">
                <a:solidFill>
                  <a:srgbClr val="FFC000"/>
                </a:solidFill>
              </a:rPr>
              <a:t>da </a:t>
            </a:r>
            <a:r>
              <a:rPr lang="it-IT" sz="3600" dirty="0">
                <a:solidFill>
                  <a:srgbClr val="FFC000"/>
                </a:solidFill>
              </a:rPr>
              <a:t>cui ebbe 6 figli.</a:t>
            </a:r>
          </a:p>
          <a:p>
            <a:r>
              <a:rPr lang="it-IT" sz="3600" dirty="0">
                <a:solidFill>
                  <a:srgbClr val="FFC000"/>
                </a:solidFill>
              </a:rPr>
              <a:t> Alla sua morte ebbe 12 mogli, ma un solo figlio</a:t>
            </a:r>
            <a:endParaRPr lang="it-IT" sz="3600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2900425"/>
            <a:ext cx="3545160" cy="3633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70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094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62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	</a:t>
            </a:r>
            <a:r>
              <a:rPr lang="it-IT" dirty="0">
                <a:solidFill>
                  <a:schemeClr val="accent6"/>
                </a:solidFill>
              </a:rPr>
              <a:t>L</a:t>
            </a:r>
            <a:r>
              <a:rPr lang="it-IT" sz="4000" dirty="0" smtClean="0">
                <a:solidFill>
                  <a:schemeClr val="accent6"/>
                </a:solidFill>
              </a:rPr>
              <a:t>e rivelazioni : Maometto profeta</a:t>
            </a:r>
            <a:endParaRPr lang="it-IT" sz="40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840000" y="2060575"/>
            <a:ext cx="7675350" cy="4351338"/>
          </a:xfrm>
        </p:spPr>
        <p:txBody>
          <a:bodyPr>
            <a:normAutofit/>
          </a:bodyPr>
          <a:lstStyle/>
          <a:p>
            <a:pPr algn="just"/>
            <a:r>
              <a:rPr lang="it-IT" sz="2800" dirty="0" smtClean="0"/>
              <a:t>Attraverso contatti con cristiani missionari cominciarono le prime riflessioni: nel 610 la prima rivelazioni attraverso l’Arcangelo Gabriele: Maometto fu scelto come inviato di Dio</a:t>
            </a:r>
          </a:p>
          <a:p>
            <a:pPr algn="just"/>
            <a:endParaRPr lang="it-IT" sz="2800" dirty="0" smtClean="0"/>
          </a:p>
          <a:p>
            <a:pPr algn="just"/>
            <a:r>
              <a:rPr lang="it-IT" sz="2800" dirty="0" smtClean="0"/>
              <a:t>Più tardi nuove rivelazioni: Dio unico, Inferno-Paradiso ; un versetto del Corano fa riferimento al mantello in cui Maometto tremante si avvolge (epilessia?)</a:t>
            </a:r>
          </a:p>
          <a:p>
            <a:endParaRPr lang="it-IT" sz="2600" dirty="0"/>
          </a:p>
        </p:txBody>
      </p:sp>
    </p:spTree>
    <p:extLst>
      <p:ext uri="{BB962C8B-B14F-4D97-AF65-F5344CB8AC3E}">
        <p14:creationId xmlns:p14="http://schemas.microsoft.com/office/powerpoint/2010/main" val="3840820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1808873"/>
            <a:ext cx="5869632" cy="4822128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755576" y="404664"/>
            <a:ext cx="7647415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L’ arcangelo Gabriele si rivolge a Maometto: </a:t>
            </a:r>
          </a:p>
          <a:p>
            <a:r>
              <a:rPr lang="it-IT" sz="3200" dirty="0" smtClean="0">
                <a:solidFill>
                  <a:srgbClr val="FFC000"/>
                </a:solidFill>
              </a:rPr>
              <a:t>«Salute a te, profeta di Allah»</a:t>
            </a:r>
            <a:endParaRPr lang="it-IT" sz="32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7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205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87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11560" y="1772816"/>
            <a:ext cx="7747358" cy="4896544"/>
          </a:xfrm>
        </p:spPr>
        <p:txBody>
          <a:bodyPr>
            <a:noAutofit/>
          </a:bodyPr>
          <a:lstStyle/>
          <a:p>
            <a:pPr algn="just"/>
            <a:r>
              <a:rPr lang="it-IT" sz="2800" dirty="0" smtClean="0"/>
              <a:t>Attorno a Maometto si mosse un piccolo gruppo che in 10 anni non arrivò a più di cento.  I temi della predicazione insistevano sulla : carità, onestà, misericordia verso i deboli</a:t>
            </a:r>
            <a:r>
              <a:rPr lang="it-IT" sz="2800" dirty="0"/>
              <a:t> </a:t>
            </a:r>
            <a:r>
              <a:rPr lang="it-IT" sz="2800" dirty="0" smtClean="0"/>
              <a:t>; molti erano attratti anche dalle donazioni di </a:t>
            </a:r>
            <a:r>
              <a:rPr lang="it-IT" sz="2800" dirty="0" err="1" smtClean="0"/>
              <a:t>Khadigia</a:t>
            </a:r>
            <a:r>
              <a:rPr lang="it-IT" sz="2800" dirty="0" smtClean="0"/>
              <a:t>.</a:t>
            </a:r>
          </a:p>
          <a:p>
            <a:pPr algn="just"/>
            <a:r>
              <a:rPr lang="it-IT" sz="2800" dirty="0" smtClean="0"/>
              <a:t> Maometto voleva coinvolgere il ceto dei maggiorenti, che invece gli erano contrari; affermava «volta le spalle al cieco e accogli con premura il ricco.»</a:t>
            </a:r>
          </a:p>
          <a:p>
            <a:pPr algn="just"/>
            <a:r>
              <a:rPr lang="it-IT" sz="2800" dirty="0" smtClean="0"/>
              <a:t>Nuova illuminazione: Gerusalemme diventa una città sacra</a:t>
            </a:r>
            <a:endParaRPr lang="it-IT" sz="2800" dirty="0"/>
          </a:p>
        </p:txBody>
      </p:sp>
      <p:sp>
        <p:nvSpPr>
          <p:cNvPr id="7" name="Titolo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	</a:t>
            </a:r>
            <a:r>
              <a:rPr lang="it-IT" sz="4000" dirty="0" smtClean="0">
                <a:solidFill>
                  <a:schemeClr val="accent6"/>
                </a:solidFill>
              </a:rPr>
              <a:t>La predicazione a La Mecca</a:t>
            </a:r>
            <a:endParaRPr lang="it-IT" sz="4000" dirty="0"/>
          </a:p>
        </p:txBody>
      </p:sp>
    </p:spTree>
    <p:extLst>
      <p:ext uri="{BB962C8B-B14F-4D97-AF65-F5344CB8AC3E}">
        <p14:creationId xmlns:p14="http://schemas.microsoft.com/office/powerpoint/2010/main" val="1454138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252472"/>
            <a:ext cx="7755423" cy="4605528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323528" y="764704"/>
            <a:ext cx="88900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    Sermone di Maometto vicino alla Mecca</a:t>
            </a:r>
            <a:endParaRPr lang="it-IT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904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7482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11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83568" y="2132856"/>
            <a:ext cx="7663226" cy="4351338"/>
          </a:xfrm>
        </p:spPr>
        <p:txBody>
          <a:bodyPr>
            <a:normAutofit fontScale="62500" lnSpcReduction="20000"/>
          </a:bodyPr>
          <a:lstStyle/>
          <a:p>
            <a:pPr marL="0" indent="0" algn="just">
              <a:buNone/>
            </a:pPr>
            <a:r>
              <a:rPr lang="it-IT" sz="4000" dirty="0" smtClean="0"/>
              <a:t>Medina ,colonia fondata dagli ebrei, città araba piena di conflitti fra le diverse fazioni politiche-religiose: i cittadini  erano alla ricerca di una figura che garantisse la pace.</a:t>
            </a:r>
          </a:p>
          <a:p>
            <a:pPr algn="just"/>
            <a:endParaRPr lang="it-IT" sz="4000" dirty="0" smtClean="0"/>
          </a:p>
          <a:p>
            <a:pPr algn="just"/>
            <a:r>
              <a:rPr lang="it-IT" sz="4000" dirty="0" smtClean="0"/>
              <a:t>620: incontro fra  rappresentanti della città e un rappresentante di Maometto  che rimase due anni a Medina.</a:t>
            </a:r>
          </a:p>
          <a:p>
            <a:pPr algn="just"/>
            <a:r>
              <a:rPr lang="it-IT" sz="4000" dirty="0" smtClean="0"/>
              <a:t>622 : accordo fra Medina e rappresentanti di Maometto,  che diverrà lo sceicco della città.</a:t>
            </a:r>
          </a:p>
          <a:p>
            <a:pPr algn="just"/>
            <a:r>
              <a:rPr lang="it-IT" sz="4000" dirty="0" smtClean="0"/>
              <a:t>622 mese di settembre : Maometto ed i suoi fuggirono di notte silenziosamente e furtivamente da La Mecca, e arrivarono  in sicurezza a Medina</a:t>
            </a:r>
            <a:r>
              <a:rPr lang="it-IT" dirty="0" smtClean="0"/>
              <a:t>.</a:t>
            </a:r>
            <a:endParaRPr lang="it-IT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			</a:t>
            </a:r>
            <a:r>
              <a:rPr lang="it-IT" sz="4000" dirty="0" smtClean="0">
                <a:solidFill>
                  <a:schemeClr val="accent6"/>
                </a:solidFill>
              </a:rPr>
              <a:t>Egira 622 d. c. 					   		(emigrazione)</a:t>
            </a:r>
            <a:endParaRPr lang="it-IT" sz="4000" dirty="0"/>
          </a:p>
        </p:txBody>
      </p:sp>
    </p:spTree>
    <p:extLst>
      <p:ext uri="{BB962C8B-B14F-4D97-AF65-F5344CB8AC3E}">
        <p14:creationId xmlns:p14="http://schemas.microsoft.com/office/powerpoint/2010/main" val="3012258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844824"/>
            <a:ext cx="8221274" cy="4542254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683568" y="764704"/>
            <a:ext cx="7920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Egira: Maometto si trasferisce a Medina</a:t>
            </a:r>
            <a:endParaRPr lang="it-IT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966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8416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35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11560" y="1412776"/>
            <a:ext cx="8158155" cy="5445224"/>
          </a:xfrm>
        </p:spPr>
        <p:txBody>
          <a:bodyPr>
            <a:noAutofit/>
          </a:bodyPr>
          <a:lstStyle/>
          <a:p>
            <a:pPr algn="just"/>
            <a:r>
              <a:rPr lang="it-IT" sz="2800" dirty="0" smtClean="0"/>
              <a:t>Cominciò la attività di governatore della città; creando un Regolamento (Umma) che sacralizzava il centro della città, in cui non valevano le leggi tribali.</a:t>
            </a:r>
          </a:p>
          <a:p>
            <a:pPr algn="just"/>
            <a:r>
              <a:rPr lang="it-IT" sz="2800" dirty="0" smtClean="0"/>
              <a:t>Il problema più importante era quello dei poveri. La soluzione furono le razzie alle carovane che transitavano verso La Mecca, svolte anche nel periodo sacro.</a:t>
            </a:r>
          </a:p>
          <a:p>
            <a:pPr algn="just"/>
            <a:r>
              <a:rPr lang="it-IT" sz="2800" dirty="0" smtClean="0"/>
              <a:t>Di fronte alla indignazione degli abitanti di Medina  Maometto ebbe una nuova rivelazione   :  « non è lecito fare guerra nel mese sacro, ma è più grave allontanarsi  dalla via del Signore».</a:t>
            </a:r>
          </a:p>
          <a:p>
            <a:pPr algn="just"/>
            <a:r>
              <a:rPr lang="it-IT" sz="2800" dirty="0" smtClean="0"/>
              <a:t>I successi militari, il bottino distribuito ai poveri, lo rendono famoso e rafforzano il suo ruolo.</a:t>
            </a:r>
            <a:endParaRPr lang="it-IT" sz="2800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t-IT" dirty="0" smtClean="0">
                <a:solidFill>
                  <a:schemeClr val="accent6"/>
                </a:solidFill>
              </a:rPr>
              <a:t>		</a:t>
            </a:r>
            <a:r>
              <a:rPr lang="it-IT" sz="4000" dirty="0" smtClean="0">
                <a:solidFill>
                  <a:schemeClr val="accent6"/>
                </a:solidFill>
              </a:rPr>
              <a:t>Lo sceicco di Medina</a:t>
            </a:r>
            <a:endParaRPr lang="it-IT" sz="4000" dirty="0"/>
          </a:p>
        </p:txBody>
      </p:sp>
    </p:spTree>
    <p:extLst>
      <p:ext uri="{BB962C8B-B14F-4D97-AF65-F5344CB8AC3E}">
        <p14:creationId xmlns:p14="http://schemas.microsoft.com/office/powerpoint/2010/main" val="904806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476672"/>
            <a:ext cx="3469736" cy="5939573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683568" y="1700808"/>
            <a:ext cx="361958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Maometto</a:t>
            </a:r>
          </a:p>
          <a:p>
            <a:r>
              <a:rPr lang="it-IT" sz="3600" dirty="0" smtClean="0">
                <a:solidFill>
                  <a:srgbClr val="FFC000"/>
                </a:solidFill>
              </a:rPr>
              <a:t> sceicco di Medina</a:t>
            </a:r>
            <a:endParaRPr lang="it-IT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994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200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58" name="Diapositiva think-cell" r:id="rId5" imgW="366" imgH="343" progId="TCLayout.ActiveDocument.1">
                  <p:embed/>
                </p:oleObj>
              </mc:Choice>
              <mc:Fallback>
                <p:oleObj name="Diapositiva think-cell" r:id="rId5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55576" y="1772816"/>
            <a:ext cx="7675350" cy="4351338"/>
          </a:xfrm>
        </p:spPr>
        <p:txBody>
          <a:bodyPr>
            <a:noAutofit/>
          </a:bodyPr>
          <a:lstStyle/>
          <a:p>
            <a:pPr algn="just"/>
            <a:r>
              <a:rPr lang="it-IT" sz="2800" dirty="0" smtClean="0"/>
              <a:t>Le tre comunità ebraiche di Medina gli erano  ostili o indifferenti; in un primo tempo  Maometto adottò alcune ritualità ebraiche: il sabato, la preghiera verso Gerusalemme per coinvolgere le comunità.</a:t>
            </a:r>
          </a:p>
          <a:p>
            <a:pPr algn="just"/>
            <a:r>
              <a:rPr lang="it-IT" sz="2800" dirty="0" smtClean="0"/>
              <a:t>In seguito non essendo riuscito nel suo scopo, cambiò la ritualità: il venerdì e non più il sabato; la preghiera verso la Mecca ; la rielaborazione della Bibbia. </a:t>
            </a:r>
            <a:r>
              <a:rPr lang="it-IT" sz="2800" dirty="0"/>
              <a:t>L</a:t>
            </a:r>
            <a:r>
              <a:rPr lang="it-IT" sz="2800" dirty="0" smtClean="0"/>
              <a:t>a comunità ebraica per sopravvivere,  nel 624 uscì da Medina.</a:t>
            </a:r>
          </a:p>
          <a:p>
            <a:r>
              <a:rPr lang="it-IT" sz="2800" dirty="0" smtClean="0"/>
              <a:t>Una nuova Rivelazione legittimò l’operato</a:t>
            </a:r>
            <a:endParaRPr lang="it-IT" sz="2800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t-IT" sz="4000" dirty="0" smtClean="0">
                <a:solidFill>
                  <a:schemeClr val="accent6"/>
                </a:solidFill>
              </a:rPr>
              <a:t>   Maometto e le comunità ebraiche</a:t>
            </a:r>
            <a:endParaRPr lang="it-IT" sz="4000" dirty="0"/>
          </a:p>
        </p:txBody>
      </p:sp>
    </p:spTree>
    <p:extLst>
      <p:ext uri="{BB962C8B-B14F-4D97-AF65-F5344CB8AC3E}">
        <p14:creationId xmlns:p14="http://schemas.microsoft.com/office/powerpoint/2010/main" val="3692693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9969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94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50912" y="2060575"/>
            <a:ext cx="8442176" cy="1194650"/>
          </a:xfrm>
        </p:spPr>
        <p:txBody>
          <a:bodyPr vert="horz">
            <a:noAutofit/>
          </a:bodyPr>
          <a:lstStyle/>
          <a:p>
            <a:pPr algn="ctr"/>
            <a:r>
              <a:rPr lang="it-IT" sz="4800" dirty="0" smtClean="0">
                <a:solidFill>
                  <a:schemeClr val="accent6"/>
                </a:solidFill>
              </a:rPr>
              <a:t>Esempi di religioni monoteiste :</a:t>
            </a:r>
            <a:br>
              <a:rPr lang="it-IT" sz="4800" dirty="0" smtClean="0">
                <a:solidFill>
                  <a:schemeClr val="accent6"/>
                </a:solidFill>
              </a:rPr>
            </a:br>
            <a:r>
              <a:rPr lang="it-IT" sz="4800" dirty="0" smtClean="0">
                <a:solidFill>
                  <a:schemeClr val="accent6"/>
                </a:solidFill>
              </a:rPr>
              <a:t>il Cristianesimo</a:t>
            </a:r>
            <a:endParaRPr lang="it-IT" sz="4800" dirty="0">
              <a:solidFill>
                <a:schemeClr val="accent6"/>
              </a:solidFill>
            </a:endParaRPr>
          </a:p>
        </p:txBody>
      </p:sp>
      <p:sp>
        <p:nvSpPr>
          <p:cNvPr id="6" name="Sottotitolo 5"/>
          <p:cNvSpPr>
            <a:spLocks noGrp="1"/>
          </p:cNvSpPr>
          <p:nvPr>
            <p:ph type="subTitle" idx="1"/>
          </p:nvPr>
        </p:nvSpPr>
        <p:spPr>
          <a:xfrm>
            <a:off x="1187624" y="3789040"/>
            <a:ext cx="6858000" cy="618523"/>
          </a:xfrm>
        </p:spPr>
        <p:txBody>
          <a:bodyPr>
            <a:normAutofit/>
          </a:bodyPr>
          <a:lstStyle/>
          <a:p>
            <a:pPr algn="ctr"/>
            <a:r>
              <a:rPr lang="it-IT" sz="2800" b="1" i="1" dirty="0" smtClean="0">
                <a:solidFill>
                  <a:schemeClr val="tx2"/>
                </a:solidFill>
              </a:rPr>
              <a:t>Quarta conversazione</a:t>
            </a:r>
            <a:endParaRPr lang="it-IT" sz="2800" b="1" dirty="0"/>
          </a:p>
        </p:txBody>
      </p:sp>
      <p:sp>
        <p:nvSpPr>
          <p:cNvPr id="5" name="Sottotitolo 5"/>
          <p:cNvSpPr txBox="1">
            <a:spLocks/>
          </p:cNvSpPr>
          <p:nvPr/>
        </p:nvSpPr>
        <p:spPr>
          <a:xfrm>
            <a:off x="1143000" y="1217498"/>
            <a:ext cx="6858000" cy="61852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kern="120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ito, Religione, Filosofia</a:t>
            </a:r>
            <a:endParaRPr lang="it-IT" sz="36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Sottotitolo 5"/>
          <p:cNvSpPr txBox="1">
            <a:spLocks/>
          </p:cNvSpPr>
          <p:nvPr/>
        </p:nvSpPr>
        <p:spPr>
          <a:xfrm>
            <a:off x="6344411" y="6021288"/>
            <a:ext cx="2473830" cy="47450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kern="120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Corso n. 155</a:t>
            </a:r>
            <a:endParaRPr lang="it-IT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Sottotitolo 5"/>
          <p:cNvSpPr txBox="1">
            <a:spLocks/>
          </p:cNvSpPr>
          <p:nvPr/>
        </p:nvSpPr>
        <p:spPr>
          <a:xfrm>
            <a:off x="395536" y="6033865"/>
            <a:ext cx="2473830" cy="47450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kern="120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it-IT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ariella Valenti</a:t>
            </a:r>
            <a:endParaRPr lang="it-IT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400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4540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5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51520" y="1124744"/>
            <a:ext cx="8374179" cy="5445224"/>
          </a:xfrm>
        </p:spPr>
        <p:txBody>
          <a:bodyPr>
            <a:noAutofit/>
          </a:bodyPr>
          <a:lstStyle/>
          <a:p>
            <a:pPr algn="just"/>
            <a:r>
              <a:rPr lang="it-IT" dirty="0" smtClean="0"/>
              <a:t>625-628 : Spedizioni militari a volte sconfitto e ferito: Rivelazione» chi si ritira  non avrà danno, Dio lo compensa». Anche la violazione di precetti tribali (abbattimento dei palmizi di una comunità ebraica) viene giustificata da nuove Rivelazioni.</a:t>
            </a:r>
          </a:p>
          <a:p>
            <a:pPr algn="just"/>
            <a:r>
              <a:rPr lang="it-IT" dirty="0" smtClean="0"/>
              <a:t>628-9 Si preparò l’attacco alla La Mecca con una nuova Rivelazione » entrerete nel Sacro tempio». Si arrivò ad un accordo di tregua decennale con i Meccani e venne rimandata di un anno l’entrata in città per il pellegrinaggio. Nel 629 primo pellegrinaggio a La Mecca deserta.</a:t>
            </a:r>
          </a:p>
          <a:p>
            <a:pPr algn="just"/>
            <a:r>
              <a:rPr lang="it-IT" dirty="0" smtClean="0"/>
              <a:t>630: occupazione della città , rompendo la tregua (nuova Rivelazione).Trionfatore mostrò clemenza e distribuì il bottino (di una altra città) ai Meccani.</a:t>
            </a:r>
          </a:p>
          <a:p>
            <a:pPr algn="just"/>
            <a:r>
              <a:rPr lang="it-IT" dirty="0" smtClean="0"/>
              <a:t>630: Rivelazione: attacco contro i cristiani, la spedizione ebbe uno scarso successo.</a:t>
            </a:r>
          </a:p>
          <a:p>
            <a:pPr algn="just"/>
            <a:r>
              <a:rPr lang="it-IT" dirty="0" smtClean="0"/>
              <a:t>632 : pellegrinaggio e nuovi riti per eliminare ogni traccia di paganesimo.  Al ritorno a Medina si ammalò e morì.</a:t>
            </a:r>
          </a:p>
          <a:p>
            <a:endParaRPr lang="it-IT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>
          <a:xfrm>
            <a:off x="1043608" y="116633"/>
            <a:ext cx="7471742" cy="936104"/>
          </a:xfrm>
        </p:spPr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   </a:t>
            </a:r>
            <a:r>
              <a:rPr lang="it-IT" sz="4000" dirty="0" smtClean="0">
                <a:solidFill>
                  <a:schemeClr val="accent6"/>
                </a:solidFill>
              </a:rPr>
              <a:t>Conquiste, sconfitte e vittorie</a:t>
            </a:r>
            <a:endParaRPr lang="it-IT" sz="4000" dirty="0"/>
          </a:p>
        </p:txBody>
      </p:sp>
    </p:spTree>
    <p:extLst>
      <p:ext uri="{BB962C8B-B14F-4D97-AF65-F5344CB8AC3E}">
        <p14:creationId xmlns:p14="http://schemas.microsoft.com/office/powerpoint/2010/main" val="2621647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868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75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83568" y="1628800"/>
            <a:ext cx="7675350" cy="4351338"/>
          </a:xfrm>
        </p:spPr>
        <p:txBody>
          <a:bodyPr>
            <a:noAutofit/>
          </a:bodyPr>
          <a:lstStyle/>
          <a:p>
            <a:pPr algn="just"/>
            <a:r>
              <a:rPr lang="it-IT" sz="2800" dirty="0" smtClean="0"/>
              <a:t>L’islam è un modello di vita completo in cui i doveri fondamentali sono i 5 pilastri.</a:t>
            </a:r>
          </a:p>
          <a:p>
            <a:pPr algn="just"/>
            <a:r>
              <a:rPr lang="it-IT" sz="2800" dirty="0" smtClean="0"/>
              <a:t>Diffondere, evangelizzare(Jihad  sforzo spirituale)</a:t>
            </a:r>
          </a:p>
          <a:p>
            <a:pPr algn="just"/>
            <a:r>
              <a:rPr lang="it-IT" sz="2800" dirty="0" smtClean="0"/>
              <a:t>Modello di società: fratellanza e solidarietà</a:t>
            </a:r>
          </a:p>
          <a:p>
            <a:pPr algn="just"/>
            <a:r>
              <a:rPr lang="it-IT" sz="2800" dirty="0" smtClean="0"/>
              <a:t>Moralità: l’ uomo  islamico è al centro del creato, non ha peccato originale, è dotato di libero arbitrio. Fa esperienza della vita con moderazione</a:t>
            </a:r>
          </a:p>
          <a:p>
            <a:pPr algn="just"/>
            <a:r>
              <a:rPr lang="it-IT" sz="2800" dirty="0" smtClean="0"/>
              <a:t>Famiglia : si accetta la poligamia, le donne sono trattate con rispetto; sul velo  non ci sono indicazioni, si parla solo di decenza nell’abbigliamento.</a:t>
            </a:r>
            <a:endParaRPr lang="it-IT" sz="2800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				Il Coran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90206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24744"/>
            <a:ext cx="5544616" cy="5544616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5652119" y="2636912"/>
            <a:ext cx="34384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 smtClean="0">
                <a:solidFill>
                  <a:srgbClr val="FFC000"/>
                </a:solidFill>
              </a:rPr>
              <a:t>Testimonianza di fede</a:t>
            </a:r>
            <a:endParaRPr lang="it-IT" sz="2800" dirty="0">
              <a:solidFill>
                <a:srgbClr val="FFC000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5794584" y="3212976"/>
            <a:ext cx="20489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 smtClean="0">
                <a:solidFill>
                  <a:srgbClr val="FFC000"/>
                </a:solidFill>
              </a:rPr>
              <a:t>La preghiera</a:t>
            </a:r>
            <a:endParaRPr lang="it-IT" sz="2800" dirty="0">
              <a:solidFill>
                <a:srgbClr val="FFC000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5872639" y="3897052"/>
            <a:ext cx="19297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 smtClean="0">
                <a:solidFill>
                  <a:srgbClr val="FFC000"/>
                </a:solidFill>
              </a:rPr>
              <a:t>L’elemosina</a:t>
            </a:r>
            <a:endParaRPr lang="it-IT" sz="2800" dirty="0">
              <a:solidFill>
                <a:srgbClr val="FFC000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5775778" y="4540478"/>
            <a:ext cx="15955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dirty="0" smtClean="0">
                <a:solidFill>
                  <a:srgbClr val="FFC000"/>
                </a:solidFill>
              </a:rPr>
              <a:t>Il digiuno</a:t>
            </a:r>
            <a:endParaRPr lang="it-IT" sz="2800" dirty="0">
              <a:solidFill>
                <a:srgbClr val="FFC000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5673418" y="5116542"/>
            <a:ext cx="25571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 smtClean="0">
                <a:solidFill>
                  <a:srgbClr val="FFC000"/>
                </a:solidFill>
              </a:rPr>
              <a:t>Il pellegrinaggio</a:t>
            </a:r>
            <a:endParaRPr lang="it-IT" sz="2800" dirty="0">
              <a:solidFill>
                <a:srgbClr val="FFC000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1043608" y="436022"/>
            <a:ext cx="448872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dirty="0" smtClean="0">
                <a:solidFill>
                  <a:srgbClr val="FFC000"/>
                </a:solidFill>
              </a:rPr>
              <a:t>I cinque pilastri dell’ Islam</a:t>
            </a:r>
            <a:endParaRPr lang="it-IT" sz="32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123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2984782"/>
            <a:ext cx="6720273" cy="3780154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2" y="0"/>
            <a:ext cx="5137649" cy="3600400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5485389" y="706489"/>
            <a:ext cx="335861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Il corano</a:t>
            </a:r>
          </a:p>
          <a:p>
            <a:r>
              <a:rPr lang="it-IT" sz="3600" dirty="0" smtClean="0">
                <a:solidFill>
                  <a:srgbClr val="FFC000"/>
                </a:solidFill>
              </a:rPr>
              <a:t> e la sua scrittura</a:t>
            </a:r>
            <a:endParaRPr lang="it-IT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338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41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98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34325" y="2030352"/>
            <a:ext cx="7675350" cy="4351338"/>
          </a:xfrm>
        </p:spPr>
        <p:txBody>
          <a:bodyPr>
            <a:normAutofit/>
          </a:bodyPr>
          <a:lstStyle/>
          <a:p>
            <a:r>
              <a:rPr lang="it-IT" sz="2800" dirty="0" smtClean="0"/>
              <a:t>La Sunna comprende i fatti e i detti attribuiti al Profeta.</a:t>
            </a:r>
          </a:p>
          <a:p>
            <a:pPr marL="0" indent="0">
              <a:buNone/>
            </a:pPr>
            <a:endParaRPr lang="it-IT" sz="2800" dirty="0" smtClean="0"/>
          </a:p>
          <a:p>
            <a:r>
              <a:rPr lang="it-IT" sz="2800" dirty="0" smtClean="0"/>
              <a:t>Si definiscono Sunniti coloro che ritengono la Sunna ispirata da Allah al pari del Corano.</a:t>
            </a:r>
          </a:p>
          <a:p>
            <a:pPr marL="0" indent="0">
              <a:buNone/>
            </a:pPr>
            <a:endParaRPr lang="it-IT" sz="2800" dirty="0" smtClean="0"/>
          </a:p>
          <a:p>
            <a:r>
              <a:rPr lang="it-IT" sz="2800" dirty="0" smtClean="0"/>
              <a:t>Si definiscono Sciiti coloro che non la ritengono di ispirazione divina.</a:t>
            </a:r>
            <a:endParaRPr lang="it-IT" sz="2800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			Sunniti e Sciiti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69277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407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23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55576" y="1700808"/>
            <a:ext cx="7675350" cy="4351338"/>
          </a:xfrm>
        </p:spPr>
        <p:txBody>
          <a:bodyPr>
            <a:noAutofit/>
          </a:bodyPr>
          <a:lstStyle/>
          <a:p>
            <a:pPr algn="just"/>
            <a:r>
              <a:rPr lang="it-IT" sz="2800" dirty="0" smtClean="0"/>
              <a:t>Gli intellettuali islamici  nel IX°-X° sec. conobbero  la filosofia classica attraverso traduzioni o direttamente dal greco.</a:t>
            </a:r>
          </a:p>
          <a:p>
            <a:pPr algn="just"/>
            <a:r>
              <a:rPr lang="it-IT" sz="2800" dirty="0" smtClean="0"/>
              <a:t>Tentarono una sintesi fra Platone ed Aristotele e cercarono modi conciliare la filosofia  con l’Islam.</a:t>
            </a:r>
          </a:p>
          <a:p>
            <a:pPr algn="just"/>
            <a:r>
              <a:rPr lang="it-IT" sz="2800" dirty="0" smtClean="0"/>
              <a:t>Averroè( Cordova 1126-Marocco 1198) distinse fra religione da filosofia e considerò quest’ultima più adatta agli uomini colti.</a:t>
            </a:r>
          </a:p>
          <a:p>
            <a:pPr algn="just"/>
            <a:r>
              <a:rPr lang="it-IT" sz="2800" dirty="0" smtClean="0"/>
              <a:t>Molti e notevoli i contributi in medicina, fisica, musica, diritto.</a:t>
            </a:r>
            <a:endParaRPr lang="it-IT" sz="2800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		Islamismo e filosofi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05435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94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39552" y="1628800"/>
            <a:ext cx="8064896" cy="172846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it-IT" sz="5300" dirty="0">
                <a:solidFill>
                  <a:schemeClr val="accent6"/>
                </a:solidFill>
              </a:rPr>
              <a:t>Esempi di religioni monoteiste </a:t>
            </a:r>
            <a:r>
              <a:rPr lang="it-IT" dirty="0">
                <a:solidFill>
                  <a:schemeClr val="accent6"/>
                </a:solidFill>
              </a:rPr>
              <a:t>:</a:t>
            </a:r>
            <a:br>
              <a:rPr lang="it-IT" dirty="0">
                <a:solidFill>
                  <a:schemeClr val="accent6"/>
                </a:solidFill>
              </a:rPr>
            </a:br>
            <a:r>
              <a:rPr lang="it-IT" sz="5300" dirty="0" smtClean="0">
                <a:solidFill>
                  <a:schemeClr val="accent6"/>
                </a:solidFill>
              </a:rPr>
              <a:t>l’Islam</a:t>
            </a:r>
            <a:endParaRPr lang="it-IT" dirty="0">
              <a:solidFill>
                <a:schemeClr val="accent6"/>
              </a:solidFill>
            </a:endParaRPr>
          </a:p>
        </p:txBody>
      </p:sp>
      <p:sp>
        <p:nvSpPr>
          <p:cNvPr id="6" name="Sottotitolo 5"/>
          <p:cNvSpPr>
            <a:spLocks noGrp="1"/>
          </p:cNvSpPr>
          <p:nvPr>
            <p:ph type="subTitle" idx="1"/>
          </p:nvPr>
        </p:nvSpPr>
        <p:spPr>
          <a:xfrm>
            <a:off x="1043608" y="764704"/>
            <a:ext cx="6858000" cy="618523"/>
          </a:xfrm>
        </p:spPr>
        <p:txBody>
          <a:bodyPr>
            <a:normAutofit/>
          </a:bodyPr>
          <a:lstStyle/>
          <a:p>
            <a:pPr algn="ctr"/>
            <a:r>
              <a:rPr lang="it-IT" sz="3600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ito, religione , filosofia</a:t>
            </a:r>
            <a:endParaRPr lang="it-IT" sz="36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7" name="Sottotitolo 5"/>
          <p:cNvSpPr txBox="1">
            <a:spLocks/>
          </p:cNvSpPr>
          <p:nvPr/>
        </p:nvSpPr>
        <p:spPr>
          <a:xfrm>
            <a:off x="6344411" y="6021288"/>
            <a:ext cx="2473830" cy="47450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kern="120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Corso n. 155</a:t>
            </a:r>
            <a:endParaRPr lang="it-IT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Sottotitolo 5"/>
          <p:cNvSpPr txBox="1">
            <a:spLocks/>
          </p:cNvSpPr>
          <p:nvPr/>
        </p:nvSpPr>
        <p:spPr>
          <a:xfrm>
            <a:off x="1143000" y="4005064"/>
            <a:ext cx="6858000" cy="61852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kern="1200">
                <a:gradFill flip="none" rotWithShape="1">
                  <a:gsLst>
                    <a:gs pos="15000">
                      <a:schemeClr val="tx2"/>
                    </a:gs>
                    <a:gs pos="73000">
                      <a:schemeClr val="tx2">
                        <a:lumMod val="60000"/>
                        <a:lumOff val="40000"/>
                      </a:schemeClr>
                    </a:gs>
                    <a:gs pos="0">
                      <a:schemeClr val="tx2">
                        <a:lumMod val="90000"/>
                        <a:lumOff val="10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gradFill>
                  <a:gsLst>
                    <a:gs pos="34000">
                      <a:schemeClr val="tx1">
                        <a:lumMod val="93000"/>
                      </a:schemeClr>
                    </a:gs>
                    <a:gs pos="0">
                      <a:schemeClr val="bg1">
                        <a:lumMod val="25000"/>
                        <a:lumOff val="75000"/>
                      </a:schemeClr>
                    </a:gs>
                    <a:gs pos="100000">
                      <a:schemeClr val="tx2">
                        <a:lumMod val="0"/>
                        <a:lumOff val="100000"/>
                      </a:schemeClr>
                    </a:gs>
                  </a:gsLst>
                  <a:lin ang="4800000" scaled="0"/>
                </a:gra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t-IT" sz="2800" dirty="0">
              <a:solidFill>
                <a:srgbClr val="FCB11C">
                  <a:lumMod val="40000"/>
                  <a:lumOff val="60000"/>
                </a:srgbClr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339606" y="6258541"/>
            <a:ext cx="16596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i="1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ariella Valenti</a:t>
            </a:r>
            <a:endParaRPr lang="it-IT" i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563888" y="3714160"/>
            <a:ext cx="182774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800" dirty="0" smtClean="0">
                <a:solidFill>
                  <a:srgbClr val="FFC000"/>
                </a:solidFill>
              </a:rPr>
              <a:t>Grazie</a:t>
            </a:r>
            <a:endParaRPr lang="it-IT" sz="4800" dirty="0">
              <a:solidFill>
                <a:srgbClr val="FFC000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3842810" y="4797152"/>
            <a:ext cx="12698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800" dirty="0" smtClean="0">
                <a:solidFill>
                  <a:srgbClr val="FFC000"/>
                </a:solidFill>
              </a:rPr>
              <a:t>Fine</a:t>
            </a:r>
            <a:endParaRPr lang="it-IT" sz="48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129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61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05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83568" y="1700808"/>
            <a:ext cx="7675350" cy="4351338"/>
          </a:xfrm>
        </p:spPr>
        <p:txBody>
          <a:bodyPr>
            <a:noAutofit/>
          </a:bodyPr>
          <a:lstStyle/>
          <a:p>
            <a:pPr algn="just"/>
            <a:r>
              <a:rPr lang="it-IT" sz="2800" dirty="0" smtClean="0"/>
              <a:t>Il nuovo Testamento,  Lettere degli Apostoli, Apocalisse, sono i primi testi rielaborati all’interno delle segrete comunità cristiane ,che ci forniscono notizie ed il messaggio più vicino a Cristo.</a:t>
            </a:r>
          </a:p>
          <a:p>
            <a:pPr algn="just"/>
            <a:r>
              <a:rPr lang="it-IT" sz="2800" dirty="0" smtClean="0"/>
              <a:t>Anche questi testi vanno letti con la solita criticità sottolineando la figura dell’autore, della lingua , diversa da quella di Cristo, che predicava in aramaico.</a:t>
            </a:r>
          </a:p>
          <a:p>
            <a:pPr algn="just"/>
            <a:r>
              <a:rPr lang="it-IT" sz="2800" dirty="0" smtClean="0"/>
              <a:t>I Vangeli apocrifi non sono riconosciuti, cioè sono esclusi dal canone.</a:t>
            </a:r>
          </a:p>
          <a:p>
            <a:pPr marL="0" indent="0" algn="just">
              <a:buNone/>
            </a:pPr>
            <a:endParaRPr lang="it-IT" sz="2800" dirty="0"/>
          </a:p>
        </p:txBody>
      </p:sp>
      <p:sp>
        <p:nvSpPr>
          <p:cNvPr id="6" name="Titolo 5"/>
          <p:cNvSpPr>
            <a:spLocks noGrp="1"/>
          </p:cNvSpPr>
          <p:nvPr>
            <p:ph type="title"/>
          </p:nvPr>
        </p:nvSpPr>
        <p:spPr>
          <a:xfrm>
            <a:off x="683568" y="188641"/>
            <a:ext cx="7814692" cy="1152128"/>
          </a:xfrm>
        </p:spPr>
        <p:txBody>
          <a:bodyPr vert="horz">
            <a:normAutofit/>
          </a:bodyPr>
          <a:lstStyle/>
          <a:p>
            <a:pPr algn="ctr"/>
            <a:r>
              <a:rPr lang="it-IT" sz="4000" dirty="0" smtClean="0">
                <a:solidFill>
                  <a:schemeClr val="accent6"/>
                </a:solidFill>
              </a:rPr>
              <a:t>IL Cristianesimo: le    fonti</a:t>
            </a:r>
            <a:endParaRPr lang="it-IT" sz="4000" dirty="0"/>
          </a:p>
        </p:txBody>
      </p:sp>
    </p:spTree>
    <p:extLst>
      <p:ext uri="{BB962C8B-B14F-4D97-AF65-F5344CB8AC3E}">
        <p14:creationId xmlns:p14="http://schemas.microsoft.com/office/powerpoint/2010/main" val="199724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26" y="2204864"/>
            <a:ext cx="8460432" cy="4155034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395536" y="444675"/>
            <a:ext cx="712246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4000" dirty="0" smtClean="0">
                <a:solidFill>
                  <a:srgbClr val="FFC000"/>
                </a:solidFill>
              </a:rPr>
              <a:t>		Struttura del Vecchio </a:t>
            </a:r>
          </a:p>
          <a:p>
            <a:r>
              <a:rPr lang="it-IT" sz="4000" dirty="0" smtClean="0">
                <a:solidFill>
                  <a:srgbClr val="FFC000"/>
                </a:solidFill>
              </a:rPr>
              <a:t>		e del Nuovo testamento</a:t>
            </a:r>
            <a:endParaRPr lang="it-IT" sz="40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03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562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41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		</a:t>
            </a:r>
            <a:r>
              <a:rPr lang="it-IT" sz="4000" dirty="0" smtClean="0">
                <a:solidFill>
                  <a:schemeClr val="accent6"/>
                </a:solidFill>
              </a:rPr>
              <a:t>La storia e le fonti</a:t>
            </a:r>
            <a:endParaRPr lang="it-IT" sz="40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55576" y="1484784"/>
            <a:ext cx="7675350" cy="4351338"/>
          </a:xfrm>
        </p:spPr>
        <p:txBody>
          <a:bodyPr>
            <a:noAutofit/>
          </a:bodyPr>
          <a:lstStyle/>
          <a:p>
            <a:pPr algn="just"/>
            <a:r>
              <a:rPr lang="it-IT" sz="2800" dirty="0" smtClean="0"/>
              <a:t>Per la ricostruzione storica dell’Islam il Corano non è uno strumento utile, in quanto non contiene racconti, fatti ; gli accenni ad episodi sono oscuri , i luoghi sono inesistenti.</a:t>
            </a:r>
          </a:p>
          <a:p>
            <a:pPr algn="just"/>
            <a:r>
              <a:rPr lang="it-IT" sz="2800" dirty="0" smtClean="0"/>
              <a:t>La redazione ufficiale del testo è fissata nel 653 </a:t>
            </a:r>
            <a:r>
              <a:rPr lang="it-IT" sz="2800" dirty="0" err="1" smtClean="0"/>
              <a:t>d.c.</a:t>
            </a:r>
            <a:r>
              <a:rPr lang="it-IT" sz="2800" dirty="0" smtClean="0"/>
              <a:t> al tempo del califfo </a:t>
            </a:r>
            <a:r>
              <a:rPr lang="it-IT" sz="2800" dirty="0" err="1" smtClean="0"/>
              <a:t>Othman</a:t>
            </a:r>
            <a:r>
              <a:rPr lang="it-IT" sz="2800" dirty="0" smtClean="0"/>
              <a:t>; non possediamo nessun codice dell’epoca e sappiamo che circolavano altre versioni.</a:t>
            </a:r>
          </a:p>
          <a:p>
            <a:pPr algn="just"/>
            <a:r>
              <a:rPr lang="it-IT" sz="2800" dirty="0" smtClean="0"/>
              <a:t>Anche la scrittura era diversa: alcuni segni indicavano più consonanti e inoltre non era vocalizzata.</a:t>
            </a:r>
          </a:p>
          <a:p>
            <a:pPr algn="just"/>
            <a:r>
              <a:rPr lang="it-IT" sz="2800" dirty="0" smtClean="0"/>
              <a:t>La prima biografia di Maometto risale al 768 ad opera di </a:t>
            </a:r>
            <a:r>
              <a:rPr lang="it-IT" sz="2800" dirty="0" err="1" smtClean="0"/>
              <a:t>Ibn</a:t>
            </a:r>
            <a:r>
              <a:rPr lang="it-IT" sz="2800" dirty="0" smtClean="0"/>
              <a:t> </a:t>
            </a:r>
            <a:r>
              <a:rPr lang="it-IT" sz="2800" dirty="0" err="1" smtClean="0"/>
              <a:t>Ishaq</a:t>
            </a:r>
            <a:endParaRPr lang="it-IT" sz="2800" dirty="0" smtClean="0"/>
          </a:p>
          <a:p>
            <a:pPr marL="0" indent="0" algn="just">
              <a:buNone/>
            </a:pPr>
            <a:r>
              <a:rPr lang="it-IT" sz="2200" dirty="0" smtClean="0"/>
              <a:t>  </a:t>
            </a:r>
            <a:endParaRPr lang="it-IT" sz="2200" dirty="0"/>
          </a:p>
        </p:txBody>
      </p:sp>
    </p:spTree>
    <p:extLst>
      <p:ext uri="{BB962C8B-B14F-4D97-AF65-F5344CB8AC3E}">
        <p14:creationId xmlns:p14="http://schemas.microsoft.com/office/powerpoint/2010/main" val="756803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5435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5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 smtClean="0">
                <a:solidFill>
                  <a:schemeClr val="accent6"/>
                </a:solidFill>
              </a:rPr>
              <a:t>	    </a:t>
            </a:r>
            <a:r>
              <a:rPr lang="it-IT" sz="4000" dirty="0" smtClean="0">
                <a:solidFill>
                  <a:schemeClr val="accent6"/>
                </a:solidFill>
              </a:rPr>
              <a:t>Cosa ci racconta la storia</a:t>
            </a:r>
            <a:endParaRPr lang="it-IT" sz="40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7544" y="1844824"/>
            <a:ext cx="8119813" cy="2664569"/>
          </a:xfrm>
        </p:spPr>
        <p:txBody>
          <a:bodyPr>
            <a:noAutofit/>
          </a:bodyPr>
          <a:lstStyle/>
          <a:p>
            <a:pPr algn="just"/>
            <a:r>
              <a:rPr lang="it-IT" sz="2800" dirty="0" smtClean="0"/>
              <a:t>Il contesto: il mondo beduino all’interno dell’Arabia; il ruolo di La Mecca dominata dalla tribù dei </a:t>
            </a:r>
            <a:r>
              <a:rPr lang="it-IT" sz="2800" dirty="0" err="1" smtClean="0"/>
              <a:t>Quraysh</a:t>
            </a:r>
            <a:r>
              <a:rPr lang="it-IT" sz="2800" dirty="0" smtClean="0"/>
              <a:t> divenuto centro commerciale e religioso.</a:t>
            </a:r>
          </a:p>
          <a:p>
            <a:pPr algn="just"/>
            <a:endParaRPr lang="it-IT" sz="2800" dirty="0" smtClean="0"/>
          </a:p>
          <a:p>
            <a:pPr algn="just"/>
            <a:r>
              <a:rPr lang="it-IT" sz="2800" dirty="0" smtClean="0"/>
              <a:t>Maometto (il benedetto) nacque nel 571 nel gruppo degli </a:t>
            </a:r>
            <a:r>
              <a:rPr lang="it-IT" sz="2800" dirty="0" err="1" smtClean="0"/>
              <a:t>Hasfim</a:t>
            </a:r>
            <a:r>
              <a:rPr lang="it-IT" sz="2800" dirty="0" smtClean="0"/>
              <a:t>; poco si sa della sua infanzia e prima giovinezza. Cammelliere, sposò </a:t>
            </a:r>
            <a:r>
              <a:rPr lang="it-IT" sz="2800" dirty="0" err="1" smtClean="0"/>
              <a:t>Khadigia</a:t>
            </a:r>
            <a:r>
              <a:rPr lang="it-IT" sz="2800" dirty="0" smtClean="0"/>
              <a:t> ricca  vedova con molti più anni di Maometto</a:t>
            </a:r>
          </a:p>
          <a:p>
            <a:pPr algn="just"/>
            <a:r>
              <a:rPr lang="it-IT" sz="2800" dirty="0" smtClean="0"/>
              <a:t>Fino a 40 anni fu un sereno e abbiente padre di famiglia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1600418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1059958"/>
            <a:ext cx="3821900" cy="5726033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1844824"/>
            <a:ext cx="2960928" cy="4752528"/>
          </a:xfrm>
          <a:prstGeom prst="rect">
            <a:avLst/>
          </a:prstGeom>
        </p:spPr>
      </p:pic>
      <p:sp>
        <p:nvSpPr>
          <p:cNvPr id="6" name="CasellaDiTesto 5"/>
          <p:cNvSpPr txBox="1"/>
          <p:nvPr/>
        </p:nvSpPr>
        <p:spPr>
          <a:xfrm>
            <a:off x="1187624" y="620688"/>
            <a:ext cx="22172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Maometto</a:t>
            </a:r>
            <a:endParaRPr lang="it-IT" sz="3600" dirty="0">
              <a:solidFill>
                <a:srgbClr val="FFC000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6372200" y="436022"/>
            <a:ext cx="19765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La Mecca</a:t>
            </a:r>
            <a:endParaRPr lang="it-IT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0030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3322" y="1340768"/>
            <a:ext cx="6528136" cy="5328592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2645349" y="404664"/>
            <a:ext cx="37978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Arabia </a:t>
            </a:r>
            <a:r>
              <a:rPr lang="it-IT" sz="3600" dirty="0" err="1" smtClean="0">
                <a:solidFill>
                  <a:srgbClr val="FFC000"/>
                </a:solidFill>
              </a:rPr>
              <a:t>pre</a:t>
            </a:r>
            <a:r>
              <a:rPr lang="it-IT" sz="3600" dirty="0" smtClean="0">
                <a:solidFill>
                  <a:srgbClr val="FFC000"/>
                </a:solidFill>
              </a:rPr>
              <a:t> islamica</a:t>
            </a:r>
            <a:endParaRPr lang="it-IT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243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488638"/>
            <a:ext cx="8384334" cy="5256584"/>
          </a:xfrm>
          <a:prstGeom prst="rect">
            <a:avLst/>
          </a:prstGeom>
        </p:spPr>
      </p:pic>
      <p:sp>
        <p:nvSpPr>
          <p:cNvPr id="3" name="CasellaDiTesto 2"/>
          <p:cNvSpPr txBox="1"/>
          <p:nvPr/>
        </p:nvSpPr>
        <p:spPr>
          <a:xfrm>
            <a:off x="2627784" y="441538"/>
            <a:ext cx="46426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600" dirty="0" smtClean="0">
                <a:solidFill>
                  <a:srgbClr val="FFC000"/>
                </a:solidFill>
              </a:rPr>
              <a:t>Arabia dopo Maometto</a:t>
            </a:r>
            <a:endParaRPr lang="it-IT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015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ofondità">
  <a:themeElements>
    <a:clrScheme name="Profondità">
      <a:dk1>
        <a:sysClr val="windowText" lastClr="000000"/>
      </a:dk1>
      <a:lt1>
        <a:sysClr val="window" lastClr="FFFFFF"/>
      </a:lt1>
      <a:dk2>
        <a:srgbClr val="455F51"/>
      </a:dk2>
      <a:lt2>
        <a:srgbClr val="94D7E4"/>
      </a:lt2>
      <a:accent1>
        <a:srgbClr val="41AEBD"/>
      </a:accent1>
      <a:accent2>
        <a:srgbClr val="97E9D5"/>
      </a:accent2>
      <a:accent3>
        <a:srgbClr val="A2CF49"/>
      </a:accent3>
      <a:accent4>
        <a:srgbClr val="608F3D"/>
      </a:accent4>
      <a:accent5>
        <a:srgbClr val="F4DE3A"/>
      </a:accent5>
      <a:accent6>
        <a:srgbClr val="FCB11C"/>
      </a:accent6>
      <a:hlink>
        <a:srgbClr val="FBCA98"/>
      </a:hlink>
      <a:folHlink>
        <a:srgbClr val="D3B86D"/>
      </a:folHlink>
    </a:clrScheme>
    <a:fontScheme name="Profondità">
      <a:maj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メイリオ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rofondità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Depth" id="{7BEAFC2A-325C-49C4-AC08-2B765DA903F9}" vid="{1735E755-43E6-43AA-ABA2-C989ECC79AF5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3[[fn=Profondità]]</Template>
  <TotalTime>7191</TotalTime>
  <Words>1174</Words>
  <Application>Microsoft Office PowerPoint</Application>
  <PresentationFormat>Presentazione su schermo (4:3)</PresentationFormat>
  <Paragraphs>98</Paragraphs>
  <Slides>26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6</vt:i4>
      </vt:variant>
    </vt:vector>
  </HeadingPairs>
  <TitlesOfParts>
    <vt:vector size="28" baseType="lpstr">
      <vt:lpstr>Profondità</vt:lpstr>
      <vt:lpstr>Diapositiva think-cell</vt:lpstr>
      <vt:lpstr>Mito, Religione, filosofia</vt:lpstr>
      <vt:lpstr>Esempi di religioni monoteiste : il Cristianesimo</vt:lpstr>
      <vt:lpstr>IL Cristianesimo: le    fonti</vt:lpstr>
      <vt:lpstr>Presentazione standard di PowerPoint</vt:lpstr>
      <vt:lpstr>  La storia e le fonti</vt:lpstr>
      <vt:lpstr>     Cosa ci racconta la stori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Le rivelazioni : Maometto profeta</vt:lpstr>
      <vt:lpstr>Presentazione standard di PowerPoint</vt:lpstr>
      <vt:lpstr> La predicazione a La Mecca</vt:lpstr>
      <vt:lpstr>Presentazione standard di PowerPoint</vt:lpstr>
      <vt:lpstr>   Egira 622 d. c.           (emigrazione)</vt:lpstr>
      <vt:lpstr>Presentazione standard di PowerPoint</vt:lpstr>
      <vt:lpstr>  Lo sceicco di Medina</vt:lpstr>
      <vt:lpstr>Presentazione standard di PowerPoint</vt:lpstr>
      <vt:lpstr>   Maometto e le comunità ebraiche</vt:lpstr>
      <vt:lpstr>   Conquiste, sconfitte e vittorie</vt:lpstr>
      <vt:lpstr>    Il Corano</vt:lpstr>
      <vt:lpstr>Presentazione standard di PowerPoint</vt:lpstr>
      <vt:lpstr>Presentazione standard di PowerPoint</vt:lpstr>
      <vt:lpstr>   Sunniti e Sciiti</vt:lpstr>
      <vt:lpstr>  Islamismo e filosofia</vt:lpstr>
      <vt:lpstr>Esempi di religioni monoteiste : l’Islam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to Religione filosofia</dc:title>
  <dc:creator>Mariella Valenti</dc:creator>
  <cp:lastModifiedBy>Mariella Valenti</cp:lastModifiedBy>
  <cp:revision>617</cp:revision>
  <dcterms:created xsi:type="dcterms:W3CDTF">2020-02-22T08:30:21Z</dcterms:created>
  <dcterms:modified xsi:type="dcterms:W3CDTF">2025-02-13T09:5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bf4bb52-9e9d-4296-940a-59002820a53c_Enabled">
    <vt:lpwstr>true</vt:lpwstr>
  </property>
  <property fmtid="{D5CDD505-2E9C-101B-9397-08002B2CF9AE}" pid="3" name="MSIP_Label_5bf4bb52-9e9d-4296-940a-59002820a53c_SetDate">
    <vt:lpwstr>2022-03-06T11:05:19Z</vt:lpwstr>
  </property>
  <property fmtid="{D5CDD505-2E9C-101B-9397-08002B2CF9AE}" pid="4" name="MSIP_Label_5bf4bb52-9e9d-4296-940a-59002820a53c_Method">
    <vt:lpwstr>Standard</vt:lpwstr>
  </property>
  <property fmtid="{D5CDD505-2E9C-101B-9397-08002B2CF9AE}" pid="5" name="MSIP_Label_5bf4bb52-9e9d-4296-940a-59002820a53c_Name">
    <vt:lpwstr>5bf4bb52-9e9d-4296-940a-59002820a53c</vt:lpwstr>
  </property>
  <property fmtid="{D5CDD505-2E9C-101B-9397-08002B2CF9AE}" pid="6" name="MSIP_Label_5bf4bb52-9e9d-4296-940a-59002820a53c_SiteId">
    <vt:lpwstr>cbeb3ecc-6f45-4183-b5a8-088140deae5d</vt:lpwstr>
  </property>
  <property fmtid="{D5CDD505-2E9C-101B-9397-08002B2CF9AE}" pid="7" name="MSIP_Label_5bf4bb52-9e9d-4296-940a-59002820a53c_ActionId">
    <vt:lpwstr>7913da90-421a-4f9c-8876-79f8da6a13a2</vt:lpwstr>
  </property>
  <property fmtid="{D5CDD505-2E9C-101B-9397-08002B2CF9AE}" pid="8" name="MSIP_Label_5bf4bb52-9e9d-4296-940a-59002820a53c_ContentBits">
    <vt:lpwstr>0</vt:lpwstr>
  </property>
</Properties>
</file>